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_rels/.rels" ContentType="application/vnd.openxmlformats-package.relationship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_rels/item3.xml.rels" ContentType="application/vnd.openxmlformats-package.relationships+xml"/>
  <Override PartName="/customXml/_rels/item2.xml.rels" ContentType="application/vnd.openxmlformats-package.relationships+xml"/>
  <Override PartName="/customXml/_rels/item1.xml.rels" ContentType="application/vnd.openxmlformats-package.relationships+xml"/>
  <Override PartName="/customXml/itemProps2.xml" ContentType="application/vnd.openxmlformats-officedocument.customXmlProperties+xml"/>
  <Override PartName="/customXml/item3.xml" ContentType="application/xml"/>
  <Override PartName="/customXml/itemProps3.xml" ContentType="application/vnd.openxmlformats-officedocument.customXmlProperties+xml"/>
  <Override PartName="/ppt/presentation.xml" ContentType="application/vnd.openxmlformats-officedocument.presentationml.presentation.main+xml"/>
  <Override PartName="/ppt/slideMasters/_rels/slideMaster2.xml.rels" ContentType="application/vnd.openxmlformats-package.relationships+xml"/>
  <Override PartName="/ppt/slideMasters/_rels/slideMaster1.xml.rels" ContentType="application/vnd.openxmlformats-package.relationship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_rels/notesSlide4.xml.rels" ContentType="application/vnd.openxmlformats-package.relationships+xml"/>
  <Override PartName="/ppt/notesSlides/_rels/notesSlide3.xml.rels" ContentType="application/vnd.openxmlformats-package.relationships+xml"/>
  <Override PartName="/ppt/notesSlides/_rels/notesSlide2.xml.rels" ContentType="application/vnd.openxmlformats-package.relationships+xml"/>
  <Override PartName="/ppt/notesSlides/_rels/notesSlide1.xml.rels" ContentType="application/vnd.openxmlformats-package.relationship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_rels/presentation.xml.rels" ContentType="application/vnd.openxmlformats-package.relationships+xml"/>
  <Override PartName="/ppt/embeddings/oleObject1.bin" ContentType="application/vnd.openxmlformats-officedocument.oleObject"/>
  <Override PartName="/ppt/media/image1.wmf" ContentType="image/x-wmf"/>
  <Override PartName="/ppt/media/image2.png" ContentType="image/png"/>
  <Override PartName="/ppt/media/image3.png" ContentType="image/png"/>
  <Override PartName="/ppt/media/image4.wmf" ContentType="image/x-wmf"/>
  <Override PartName="/ppt/media/image5.png" ContentType="image/png"/>
  <Override PartName="/ppt/media/image6.png" ContentType="image/png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_rels/slideLayout22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24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20.xml.rels" ContentType="application/vnd.openxmlformats-package.relationships+xml"/>
  <Override PartName="/ppt/slideLayouts/slideLayout6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2.xml" ContentType="application/vnd.openxmlformats-officedocument.presentationml.slideLayout+xml"/>
  <Override PartName="/ppt/presProps.xml" ContentType="application/vnd.openxmlformats-officedocument.presentationml.presProps+xml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slides/slide1.xml" ContentType="application/vnd.openxmlformats-officedocument.presentationml.slide+xml"/>
  <Override PartName="/ppt/slides/_rels/slide4.xml.rels" ContentType="application/vnd.openxmlformats-package.relationships+xml"/>
  <Override PartName="/ppt/slides/_rels/slide1.xml.rels" ContentType="application/vnd.openxmlformats-package.relationships+xml"/>
  <Override PartName="/ppt/slides/_rels/slide3.xml.rels" ContentType="application/vnd.openxmlformats-package.relationships+xml"/>
  <Override PartName="/ppt/slides/_rels/slide2.xml.rels" ContentType="application/vnd.openxmlformats-package.relationships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customXml" Target="../customXml/item1.xml"/><Relationship Id="rId5" Type="http://schemas.openxmlformats.org/officeDocument/2006/relationships/customXml" Target="../customXml/item2.xml"/><Relationship Id="rId6" Type="http://schemas.openxmlformats.org/officeDocument/2006/relationships/customXml" Target="../customXml/item3.xml"/><Relationship Id="rId7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61" r:id="rId3"/>
  </p:sldMasterIdLst>
  <p:notesMasterIdLst>
    <p:notesMasterId r:id="rId4"/>
  </p:notesMasterIdLst>
  <p:sldIdLst>
    <p:sldId id="256" r:id="rId5"/>
    <p:sldId id="257" r:id="rId6"/>
    <p:sldId id="258" r:id="rId7"/>
    <p:sldId id="259" r:id="rId8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3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PlaceHolder 1"/>
          <p:cNvSpPr>
            <a:spLocks noGrp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k to move the slide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99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en-US" sz="2000" spc="-1" strike="noStrike">
                <a:latin typeface="Arial"/>
              </a:rPr>
              <a:t>Click to edit the notes format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00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en-US" sz="1400" spc="-1" strike="noStrike">
                <a:latin typeface="Times New Roman"/>
              </a:rPr>
              <a:t>&lt;header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101" name="PlaceHolder 4"/>
          <p:cNvSpPr>
            <a:spLocks noGrp="1"/>
          </p:cNvSpPr>
          <p:nvPr>
            <p:ph type="dt" idx="5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algn="r">
              <a:buNone/>
              <a:defRPr b="0" lang="en-US" sz="1400" spc="-1" strike="noStrike">
                <a:latin typeface="Times New Roman"/>
              </a:defRPr>
            </a:lvl1pPr>
          </a:lstStyle>
          <a:p>
            <a:pPr algn="r">
              <a:buNone/>
            </a:pPr>
            <a:r>
              <a:rPr b="0" lang="en-US" sz="1400" spc="-1" strike="noStrike">
                <a:latin typeface="Times New Roman"/>
              </a:rPr>
              <a:t>&lt;date/time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102" name="PlaceHolder 5"/>
          <p:cNvSpPr>
            <a:spLocks noGrp="1"/>
          </p:cNvSpPr>
          <p:nvPr>
            <p:ph type="ftr" idx="6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>
              <a:defRPr b="0" lang="en-US" sz="1400" spc="-1" strike="noStrike">
                <a:latin typeface="Times New Roman"/>
              </a:defRPr>
            </a:lvl1pPr>
          </a:lstStyle>
          <a:p>
            <a:r>
              <a:rPr b="0" lang="en-US" sz="1400" spc="-1" strike="noStrike">
                <a:latin typeface="Times New Roman"/>
              </a:rPr>
              <a:t>&lt;footer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103" name="PlaceHolder 6"/>
          <p:cNvSpPr>
            <a:spLocks noGrp="1"/>
          </p:cNvSpPr>
          <p:nvPr>
            <p:ph type="sldNum" idx="7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buNone/>
              <a:defRPr b="0" lang="en-US" sz="1400" spc="-1" strike="noStrike">
                <a:latin typeface="Times New Roman"/>
              </a:defRPr>
            </a:lvl1pPr>
          </a:lstStyle>
          <a:p>
            <a:pPr algn="r">
              <a:buNone/>
            </a:pPr>
            <a:fld id="{079715CF-72D5-4362-A066-DDA33206B669}" type="slidenum">
              <a:rPr b="0" lang="en-US" sz="1400" spc="-1" strike="noStrike">
                <a:latin typeface="Times New Roman"/>
              </a:rPr>
              <a:t>&lt;number&gt;</a:t>
            </a:fld>
            <a:endParaRPr b="0" lang="en-US" sz="1400" spc="-1" strike="noStrike"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5320" cy="3085200"/>
          </a:xfrm>
          <a:prstGeom prst="rect">
            <a:avLst/>
          </a:prstGeom>
          <a:ln w="0">
            <a:noFill/>
          </a:ln>
        </p:spPr>
      </p:sp>
      <p:sp>
        <p:nvSpPr>
          <p:cNvPr id="157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320" cy="359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158" name="PlaceHolder 3"/>
          <p:cNvSpPr>
            <a:spLocks noGrp="1"/>
          </p:cNvSpPr>
          <p:nvPr>
            <p:ph type="sldNum" idx="8"/>
          </p:nvPr>
        </p:nvSpPr>
        <p:spPr>
          <a:xfrm>
            <a:off x="3884760" y="8685360"/>
            <a:ext cx="2970720" cy="45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D6F8398D-56FE-4BBF-BFEF-9B64015C7071}" type="slidenum">
              <a:rPr b="0" lang="pt-BR" sz="1200" spc="-1" strike="noStrike">
                <a:solidFill>
                  <a:srgbClr val="000000"/>
                </a:solidFill>
                <a:latin typeface="+mn-lt"/>
                <a:ea typeface="+mn-ea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5320" cy="3085200"/>
          </a:xfrm>
          <a:prstGeom prst="rect">
            <a:avLst/>
          </a:prstGeom>
          <a:ln w="0">
            <a:noFill/>
          </a:ln>
        </p:spPr>
      </p:sp>
      <p:sp>
        <p:nvSpPr>
          <p:cNvPr id="160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320" cy="359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161" name="PlaceHolder 3"/>
          <p:cNvSpPr>
            <a:spLocks noGrp="1"/>
          </p:cNvSpPr>
          <p:nvPr>
            <p:ph type="sldNum" idx="9"/>
          </p:nvPr>
        </p:nvSpPr>
        <p:spPr>
          <a:xfrm>
            <a:off x="3884760" y="8685360"/>
            <a:ext cx="2970720" cy="45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10756A79-74E4-4BB6-A5DE-AA4FEF7531FB}" type="slidenum">
              <a:rPr b="0" lang="pt-BR" sz="1200" spc="-1" strike="noStrike">
                <a:solidFill>
                  <a:srgbClr val="000000"/>
                </a:solidFill>
                <a:latin typeface="+mn-lt"/>
                <a:ea typeface="+mn-ea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5320" cy="3085200"/>
          </a:xfrm>
          <a:prstGeom prst="rect">
            <a:avLst/>
          </a:prstGeom>
          <a:ln w="0">
            <a:noFill/>
          </a:ln>
        </p:spPr>
      </p:sp>
      <p:sp>
        <p:nvSpPr>
          <p:cNvPr id="16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320" cy="359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164" name="PlaceHolder 3"/>
          <p:cNvSpPr>
            <a:spLocks noGrp="1"/>
          </p:cNvSpPr>
          <p:nvPr>
            <p:ph type="sldNum" idx="10"/>
          </p:nvPr>
        </p:nvSpPr>
        <p:spPr>
          <a:xfrm>
            <a:off x="3884760" y="8685360"/>
            <a:ext cx="2970720" cy="45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73BDDEEC-C28E-46A4-9F53-C88B8E5E8581}" type="slidenum">
              <a:rPr b="0" lang="pt-BR" sz="1200" spc="-1" strike="noStrike">
                <a:solidFill>
                  <a:srgbClr val="000000"/>
                </a:solidFill>
                <a:latin typeface="+mn-lt"/>
                <a:ea typeface="+mn-ea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5320" cy="3085200"/>
          </a:xfrm>
          <a:prstGeom prst="rect">
            <a:avLst/>
          </a:prstGeom>
          <a:ln w="0">
            <a:noFill/>
          </a:ln>
        </p:spPr>
      </p:sp>
      <p:sp>
        <p:nvSpPr>
          <p:cNvPr id="16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320" cy="3599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167" name="PlaceHolder 3"/>
          <p:cNvSpPr>
            <a:spLocks noGrp="1"/>
          </p:cNvSpPr>
          <p:nvPr>
            <p:ph type="sldNum" idx="11"/>
          </p:nvPr>
        </p:nvSpPr>
        <p:spPr>
          <a:xfrm>
            <a:off x="3884760" y="8685360"/>
            <a:ext cx="2970720" cy="45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pt-BR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F4FEC734-3D4A-4D00-9FB8-8378876668A3}" type="slidenum">
              <a:rPr b="0" lang="pt-BR" sz="1200" spc="-1" strike="noStrike">
                <a:solidFill>
                  <a:srgbClr val="000000"/>
                </a:solidFill>
                <a:latin typeface="+mn-lt"/>
                <a:ea typeface="+mn-ea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DF41AFFF-1E90-43B5-B5AF-EBC319C41ACD}" type="slidenum">
              <a:t>&lt;#&gt;</a:t>
            </a:fld>
          </a:p>
        </p:txBody>
      </p:sp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6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CB8C66F0-FDB7-437C-A802-C25CEB555276}" type="slidenum">
              <a:t>&lt;#&gt;</a:t>
            </a:fld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1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C30602F5-E2CB-4816-8415-1A0459426A49}" type="slidenum">
              <a:t>&lt;#&gt;</a:t>
            </a:fld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4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4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5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6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7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8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43F83201-8751-409E-9078-0F0C15C85207}" type="slidenum">
              <a:t>&lt;#&gt;</a:t>
            </a:fld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EE3D44C5-CE9E-4712-879D-3DC88636482B}" type="slidenum">
              <a:t>&lt;#&gt;</a:t>
            </a:fld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342E2659-59C4-44F5-9AAF-CCDE3221144E}" type="slidenum">
              <a:t>&lt;#&gt;</a:t>
            </a:fld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6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8DF596D3-F55C-4889-B9D1-4163C0C02B7F}" type="slidenum">
              <a:t>&lt;#&gt;</a:t>
            </a:fld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6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5CA993CA-1C93-4C58-9EE7-92D43E579C0E}" type="slidenum">
              <a:t>&lt;#&gt;</a:t>
            </a:fld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1FEE9DC5-E634-49FB-A45F-BBE76CD69234}" type="slidenum">
              <a:t>&lt;#&gt;</a:t>
            </a:fld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90D64CC8-1940-4BBB-9555-AD4C8170A971}" type="slidenum">
              <a:t>&lt;#&gt;</a:t>
            </a:fld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B71F8420-CF37-41E5-8238-11137166BC0E}" type="slidenum">
              <a:t>&lt;#&gt;</a:t>
            </a:fld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B7985574-8197-4B2D-A2FB-11C6199D5579}" type="slidenum">
              <a:t>&lt;#&gt;</a:t>
            </a:fld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30E69F42-A593-4337-9756-F435BD36FDB0}" type="slidenum">
              <a:t>&lt;#&gt;</a:t>
            </a:fld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859F5D8A-3330-4EC4-B4BC-47EA2A7D779E}" type="slidenum">
              <a:t>&lt;#&gt;</a:t>
            </a:fld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8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C89ADCAF-3BD8-4EB2-B785-9BD2F870D015}" type="slidenum">
              <a:t>&lt;#&gt;</a:t>
            </a:fld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8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DA2F9051-0230-44F7-A2F4-D3476C8EB20B}" type="slidenum">
              <a:t>&lt;#&gt;</a:t>
            </a:fld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9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4"/>
          </p:nvPr>
        </p:nvSpPr>
        <p:spPr/>
        <p:txBody>
          <a:bodyPr/>
          <a:p>
            <a:fld id="{5BCBE915-DC90-4C0A-B014-40D92CBC63C1}" type="slidenum">
              <a:t>&lt;#&gt;</a:t>
            </a:fld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3FA2136E-8BC7-4CD1-A193-99783BC1EBB4}" type="slidenum">
              <a:t>&lt;#&gt;</a:t>
            </a:fld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D29B4F77-F74E-4A27-86D7-D78B1477EB23}" type="slidenum">
              <a:t>&lt;#&gt;</a:t>
            </a:fld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B5C4C4DF-93BD-4537-A39D-A94404623EA2}" type="slidenum">
              <a:t>&lt;#&gt;</a:t>
            </a:fld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77A62676-B27C-48C5-ABB8-943137662460}" type="slidenum">
              <a:t>&lt;#&gt;</a:t>
            </a:fld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C9215D1F-F2F1-4522-A720-7BB30FA31219}" type="slidenum">
              <a:t>&lt;#&gt;</a:t>
            </a:fld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B84B56DE-8831-41CB-B398-1A5BDB3A7E05}" type="slidenum">
              <a:t>&lt;#&gt;</a:t>
            </a:fld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D08C1EDB-41CA-420F-8829-28310005A874}" type="slidenum">
              <a:t>&lt;#&gt;</a:t>
            </a:fld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w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slideLayout" Target="../slideLayouts/slideLayout1.xml"/><Relationship Id="rId7" Type="http://schemas.openxmlformats.org/officeDocument/2006/relationships/slideLayout" Target="../slideLayouts/slideLayout2.xml"/><Relationship Id="rId8" Type="http://schemas.openxmlformats.org/officeDocument/2006/relationships/slideLayout" Target="../slideLayouts/slideLayout3.xml"/><Relationship Id="rId9" Type="http://schemas.openxmlformats.org/officeDocument/2006/relationships/slideLayout" Target="../slideLayouts/slideLayout4.xml"/><Relationship Id="rId10" Type="http://schemas.openxmlformats.org/officeDocument/2006/relationships/slideLayout" Target="../slideLayouts/slideLayout5.xml"/><Relationship Id="rId11" Type="http://schemas.openxmlformats.org/officeDocument/2006/relationships/slideLayout" Target="../slideLayouts/slideLayout6.xml"/><Relationship Id="rId12" Type="http://schemas.openxmlformats.org/officeDocument/2006/relationships/slideLayout" Target="../slideLayouts/slideLayout7.xml"/><Relationship Id="rId13" Type="http://schemas.openxmlformats.org/officeDocument/2006/relationships/slideLayout" Target="../slideLayouts/slideLayout8.xml"/><Relationship Id="rId14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11.xml"/><Relationship Id="rId17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4.wmf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6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4.xml"/><Relationship Id="rId8" Type="http://schemas.openxmlformats.org/officeDocument/2006/relationships/slideLayout" Target="../slideLayouts/slideLayout15.xml"/><Relationship Id="rId9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4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ct 30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1" name="Object 30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2" name="Graphic 4" descr=""/>
          <p:cNvPicPr/>
          <p:nvPr/>
        </p:nvPicPr>
        <p:blipFill>
          <a:blip r:embed="rId4"/>
          <a:srcRect l="81836" t="-4712" r="0" b="16530"/>
          <a:stretch/>
        </p:blipFill>
        <p:spPr>
          <a:xfrm>
            <a:off x="11547720" y="188640"/>
            <a:ext cx="423360" cy="458640"/>
          </a:xfrm>
          <a:prstGeom prst="rect">
            <a:avLst/>
          </a:prstGeom>
          <a:ln w="0">
            <a:noFill/>
          </a:ln>
        </p:spPr>
      </p:pic>
      <p:sp>
        <p:nvSpPr>
          <p:cNvPr id="3" name="Conector reto 49"/>
          <p:cNvSpPr/>
          <p:nvPr/>
        </p:nvSpPr>
        <p:spPr>
          <a:xfrm flipV="1">
            <a:off x="11568600" y="6587640"/>
            <a:ext cx="360" cy="155520"/>
          </a:xfrm>
          <a:prstGeom prst="line">
            <a:avLst/>
          </a:prstGeom>
          <a:ln cap="rnd" w="12700">
            <a:solidFill>
              <a:srgbClr val="12abd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" name="TextBoxFileName"/>
          <p:cNvSpPr/>
          <p:nvPr/>
        </p:nvSpPr>
        <p:spPr>
          <a:xfrm>
            <a:off x="407880" y="6555960"/>
            <a:ext cx="3058920" cy="21852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36000" rIns="36000" tIns="36000" bIns="36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0" lang="da-DK" sz="800" spc="-1" strike="noStrike">
                <a:solidFill>
                  <a:srgbClr val="0070ad"/>
                </a:solidFill>
                <a:latin typeface="Verdana"/>
                <a:ea typeface="DejaVu Sans"/>
              </a:rPr>
              <a:t>1788316_EN_EN_OP_MLGO.pptx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5" name="CapgeminiBox" hidden="1"/>
          <p:cNvSpPr/>
          <p:nvPr/>
        </p:nvSpPr>
        <p:spPr>
          <a:xfrm>
            <a:off x="-2232360" y="18720"/>
            <a:ext cx="2231280" cy="285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400" spc="-1" strike="noStrike">
                <a:solidFill>
                  <a:srgbClr val="000000"/>
                </a:solidFill>
                <a:latin typeface="Verdana"/>
                <a:ea typeface="DejaVu Sans"/>
              </a:rPr>
              <a:t>Capgemini Global V8.0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6" name="Freeform: Shape 11"/>
          <p:cNvSpPr/>
          <p:nvPr/>
        </p:nvSpPr>
        <p:spPr>
          <a:xfrm>
            <a:off x="0" y="2698200"/>
            <a:ext cx="6261120" cy="4158720"/>
          </a:xfrm>
          <a:custGeom>
            <a:avLst/>
            <a:gdLst/>
            <a:ahLst/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7" name="Oval 20"/>
          <p:cNvSpPr/>
          <p:nvPr/>
        </p:nvSpPr>
        <p:spPr>
          <a:xfrm>
            <a:off x="407880" y="1124640"/>
            <a:ext cx="2374560" cy="2303280"/>
          </a:xfrm>
          <a:custGeom>
            <a:avLst/>
            <a:gdLst/>
            <a:ahLst/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8" name="Capgemini Logo" descr=""/>
          <p:cNvPicPr/>
          <p:nvPr/>
        </p:nvPicPr>
        <p:blipFill>
          <a:blip r:embed="rId5"/>
          <a:stretch/>
        </p:blipFill>
        <p:spPr>
          <a:xfrm>
            <a:off x="9685800" y="188640"/>
            <a:ext cx="2285280" cy="511200"/>
          </a:xfrm>
          <a:prstGeom prst="rect">
            <a:avLst/>
          </a:prstGeom>
          <a:ln w="0">
            <a:noFill/>
          </a:ln>
        </p:spPr>
      </p:pic>
      <p:sp>
        <p:nvSpPr>
          <p:cNvPr id="9" name="PlaceHolder 1"/>
          <p:cNvSpPr>
            <a:spLocks noGrp="1"/>
          </p:cNvSpPr>
          <p:nvPr>
            <p:ph type="ftr" idx="1"/>
          </p:nvPr>
        </p:nvSpPr>
        <p:spPr>
          <a:xfrm>
            <a:off x="9324000" y="6555600"/>
            <a:ext cx="2222640" cy="2185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>
              <a:lnSpc>
                <a:spcPct val="100000"/>
              </a:lnSpc>
              <a:buNone/>
              <a:defRPr b="0" lang="en-US" sz="800" spc="-1" strike="noStrike">
                <a:solidFill>
                  <a:srgbClr val="767676"/>
                </a:solidFill>
                <a:latin typeface="Verdana"/>
              </a:defRPr>
            </a:lvl1pPr>
          </a:lstStyle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</a:rPr>
              <a:t>&lt;footer&gt;</a:t>
            </a:r>
            <a:endParaRPr b="0" lang="en-US" sz="800" spc="-1" strike="noStrike">
              <a:latin typeface="Times New Roman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 type="sldNum" idx="2"/>
          </p:nvPr>
        </p:nvSpPr>
        <p:spPr>
          <a:xfrm>
            <a:off x="11783880" y="6555600"/>
            <a:ext cx="122760" cy="21420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ctr">
              <a:lnSpc>
                <a:spcPct val="100000"/>
              </a:lnSpc>
              <a:buNone/>
              <a:defRPr b="0" lang="en-US" sz="800" spc="-1" strike="noStrike">
                <a:solidFill>
                  <a:srgbClr val="767676"/>
                </a:solidFill>
                <a:latin typeface="Verdana"/>
              </a:defRPr>
            </a:lvl1pPr>
          </a:lstStyle>
          <a:p>
            <a:pPr algn="ctr">
              <a:lnSpc>
                <a:spcPct val="100000"/>
              </a:lnSpc>
              <a:buNone/>
            </a:pPr>
            <a:fld id="{746FCCD5-17BC-42D2-802F-E285DA057572}" type="slidenum">
              <a:rPr b="0" lang="en-US" sz="800" spc="-1" strike="noStrike">
                <a:solidFill>
                  <a:srgbClr val="767676"/>
                </a:solidFill>
                <a:latin typeface="Verdana"/>
              </a:rPr>
              <a:t>&lt;number&gt;</a:t>
            </a:fld>
            <a:endParaRPr b="0" lang="en-US" sz="800" spc="-1" strike="noStrike">
              <a:latin typeface="Times New Roman"/>
            </a:endParaRPr>
          </a:p>
        </p:txBody>
      </p:sp>
      <p:sp>
        <p:nvSpPr>
          <p:cNvPr id="11" name="PlaceHolder 3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k to edit the title text forma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12" name="PlaceHolder 4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</a:t>
            </a:r>
            <a:r>
              <a:rPr b="0" lang="en-US" sz="3200" spc="-1" strike="noStrike">
                <a:latin typeface="Arial"/>
              </a:rPr>
              <a:t>the outline </a:t>
            </a:r>
            <a:r>
              <a:rPr b="0" lang="en-US" sz="3200" spc="-1" strike="noStrike">
                <a:latin typeface="Arial"/>
              </a:rPr>
              <a:t>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</a:t>
            </a:r>
            <a:r>
              <a:rPr b="0" lang="en-US" sz="2800" spc="-1" strike="noStrike">
                <a:latin typeface="Arial"/>
              </a:rPr>
              <a:t>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</a:t>
            </a:r>
            <a:r>
              <a:rPr b="0" lang="en-US" sz="2400" spc="-1" strike="noStrike">
                <a:latin typeface="Arial"/>
              </a:rPr>
              <a:t>Outline </a:t>
            </a:r>
            <a:r>
              <a:rPr b="0" lang="en-US" sz="2400" spc="-1" strike="noStrike">
                <a:latin typeface="Arial"/>
              </a:rPr>
              <a:t>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</a:t>
            </a:r>
            <a:r>
              <a:rPr b="0" lang="en-US" sz="2000" spc="-1" strike="noStrike">
                <a:latin typeface="Arial"/>
              </a:rPr>
              <a:t>Outline </a:t>
            </a:r>
            <a:r>
              <a:rPr b="0" lang="en-US" sz="2000" spc="-1" strike="noStrike">
                <a:latin typeface="Arial"/>
              </a:rPr>
              <a:t>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</a:t>
            </a:r>
            <a:r>
              <a:rPr b="0" lang="en-US" sz="2000" spc="-1" strike="noStrike">
                <a:latin typeface="Arial"/>
              </a:rPr>
              <a:t>Outline </a:t>
            </a:r>
            <a:r>
              <a:rPr b="0" lang="en-US" sz="2000" spc="-1" strike="noStrike">
                <a:latin typeface="Arial"/>
              </a:rPr>
              <a:t>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</a:t>
            </a:r>
            <a:r>
              <a:rPr b="0" lang="en-US" sz="2000" spc="-1" strike="noStrike">
                <a:latin typeface="Arial"/>
              </a:rPr>
              <a:t>th </a:t>
            </a:r>
            <a:r>
              <a:rPr b="0" lang="en-US" sz="2000" spc="-1" strike="noStrike">
                <a:latin typeface="Arial"/>
              </a:rPr>
              <a:t>Out</a:t>
            </a:r>
            <a:r>
              <a:rPr b="0" lang="en-US" sz="2000" spc="-1" strike="noStrike">
                <a:latin typeface="Arial"/>
              </a:rPr>
              <a:t>line </a:t>
            </a:r>
            <a:r>
              <a:rPr b="0" lang="en-US" sz="2000" spc="-1" strike="noStrike">
                <a:latin typeface="Arial"/>
              </a:rPr>
              <a:t>Lev</a:t>
            </a:r>
            <a:r>
              <a:rPr b="0" lang="en-US" sz="2000" spc="-1" strike="noStrike">
                <a:latin typeface="Arial"/>
              </a:rPr>
              <a:t>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v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n</a:t>
            </a:r>
            <a:r>
              <a:rPr b="0" lang="en-US" sz="2000" spc="-1" strike="noStrike">
                <a:latin typeface="Arial"/>
              </a:rPr>
              <a:t>t</a:t>
            </a:r>
            <a:r>
              <a:rPr b="0" lang="en-US" sz="2000" spc="-1" strike="noStrike">
                <a:latin typeface="Arial"/>
              </a:rPr>
              <a:t>h</a:t>
            </a:r>
            <a:r>
              <a:rPr b="0" lang="en-US" sz="2000" spc="-1" strike="noStrike">
                <a:latin typeface="Arial"/>
              </a:rPr>
              <a:t> </a:t>
            </a:r>
            <a:r>
              <a:rPr b="0" lang="en-US" sz="2000" spc="-1" strike="noStrike">
                <a:latin typeface="Arial"/>
              </a:rPr>
              <a:t>O</a:t>
            </a:r>
            <a:r>
              <a:rPr b="0" lang="en-US" sz="2000" spc="-1" strike="noStrike">
                <a:latin typeface="Arial"/>
              </a:rPr>
              <a:t>u</a:t>
            </a:r>
            <a:r>
              <a:rPr b="0" lang="en-US" sz="2000" spc="-1" strike="noStrike">
                <a:latin typeface="Arial"/>
              </a:rPr>
              <a:t>t</a:t>
            </a:r>
            <a:r>
              <a:rPr b="0" lang="en-US" sz="2000" spc="-1" strike="noStrike">
                <a:latin typeface="Arial"/>
              </a:rPr>
              <a:t>l</a:t>
            </a:r>
            <a:r>
              <a:rPr b="0" lang="en-US" sz="2000" spc="-1" strike="noStrike">
                <a:latin typeface="Arial"/>
              </a:rPr>
              <a:t>i</a:t>
            </a:r>
            <a:r>
              <a:rPr b="0" lang="en-US" sz="2000" spc="-1" strike="noStrike">
                <a:latin typeface="Arial"/>
              </a:rPr>
              <a:t>n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 </a:t>
            </a:r>
            <a:r>
              <a:rPr b="0" lang="en-US" sz="2000" spc="-1" strike="noStrike">
                <a:latin typeface="Arial"/>
              </a:rPr>
              <a:t>L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v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  <p:sldLayoutId id="2147483660" r:id="rId17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30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50" name="Object 30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pic>
        <p:nvPicPr>
          <p:cNvPr id="51" name="Graphic 4" descr=""/>
          <p:cNvPicPr/>
          <p:nvPr/>
        </p:nvPicPr>
        <p:blipFill>
          <a:blip r:embed="rId4"/>
          <a:srcRect l="81836" t="-4712" r="0" b="16530"/>
          <a:stretch/>
        </p:blipFill>
        <p:spPr>
          <a:xfrm>
            <a:off x="11547720" y="188640"/>
            <a:ext cx="423360" cy="458640"/>
          </a:xfrm>
          <a:prstGeom prst="rect">
            <a:avLst/>
          </a:prstGeom>
          <a:ln w="0">
            <a:noFill/>
          </a:ln>
        </p:spPr>
      </p:pic>
      <p:sp>
        <p:nvSpPr>
          <p:cNvPr id="52" name="Conector reto 49"/>
          <p:cNvSpPr/>
          <p:nvPr/>
        </p:nvSpPr>
        <p:spPr>
          <a:xfrm flipV="1">
            <a:off x="11568600" y="6587640"/>
            <a:ext cx="360" cy="155520"/>
          </a:xfrm>
          <a:prstGeom prst="line">
            <a:avLst/>
          </a:prstGeom>
          <a:ln cap="rnd" w="12700">
            <a:solidFill>
              <a:srgbClr val="12abd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53" name="TextBoxFileName"/>
          <p:cNvSpPr/>
          <p:nvPr/>
        </p:nvSpPr>
        <p:spPr>
          <a:xfrm>
            <a:off x="407880" y="6555960"/>
            <a:ext cx="3058920" cy="21852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36000" rIns="36000" tIns="36000" bIns="36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0" lang="da-DK" sz="800" spc="-1" strike="noStrike">
                <a:solidFill>
                  <a:srgbClr val="0070ad"/>
                </a:solidFill>
                <a:latin typeface="Verdana"/>
                <a:ea typeface="DejaVu Sans"/>
              </a:rPr>
              <a:t>1788316_EN_EN_OP_MLGO.pptx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54" name="CapgeminiBox" hidden="1"/>
          <p:cNvSpPr/>
          <p:nvPr/>
        </p:nvSpPr>
        <p:spPr>
          <a:xfrm>
            <a:off x="-2232360" y="18720"/>
            <a:ext cx="2231280" cy="285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400" spc="-1" strike="noStrike">
                <a:solidFill>
                  <a:srgbClr val="000000"/>
                </a:solidFill>
                <a:latin typeface="Verdana"/>
                <a:ea typeface="DejaVu Sans"/>
              </a:rPr>
              <a:t>Capgemini Global V8.0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55" name="Freeform: Shape 11"/>
          <p:cNvSpPr/>
          <p:nvPr/>
        </p:nvSpPr>
        <p:spPr>
          <a:xfrm>
            <a:off x="0" y="2698200"/>
            <a:ext cx="6261120" cy="4158720"/>
          </a:xfrm>
          <a:custGeom>
            <a:avLst/>
            <a:gdLst/>
            <a:ahLst/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56" name="Oval 20"/>
          <p:cNvSpPr/>
          <p:nvPr/>
        </p:nvSpPr>
        <p:spPr>
          <a:xfrm>
            <a:off x="407880" y="1124640"/>
            <a:ext cx="2374560" cy="2303280"/>
          </a:xfrm>
          <a:custGeom>
            <a:avLst/>
            <a:gdLst/>
            <a:ahLst/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57" name="Capgemini Logo" descr=""/>
          <p:cNvPicPr/>
          <p:nvPr/>
        </p:nvPicPr>
        <p:blipFill>
          <a:blip r:embed="rId5"/>
          <a:stretch/>
        </p:blipFill>
        <p:spPr>
          <a:xfrm>
            <a:off x="9685800" y="188640"/>
            <a:ext cx="2285280" cy="511200"/>
          </a:xfrm>
          <a:prstGeom prst="rect">
            <a:avLst/>
          </a:prstGeom>
          <a:ln w="0">
            <a:noFill/>
          </a:ln>
        </p:spPr>
      </p:pic>
      <p:sp>
        <p:nvSpPr>
          <p:cNvPr id="58" name="PlaceHolder 1"/>
          <p:cNvSpPr>
            <a:spLocks noGrp="1"/>
          </p:cNvSpPr>
          <p:nvPr>
            <p:ph type="ftr" idx="3"/>
          </p:nvPr>
        </p:nvSpPr>
        <p:spPr>
          <a:xfrm>
            <a:off x="9324000" y="6555600"/>
            <a:ext cx="2222640" cy="2185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>
              <a:lnSpc>
                <a:spcPct val="100000"/>
              </a:lnSpc>
              <a:buNone/>
              <a:defRPr b="0" lang="en-US" sz="800" spc="-1" strike="noStrike">
                <a:solidFill>
                  <a:srgbClr val="767676"/>
                </a:solidFill>
                <a:latin typeface="Verdana"/>
              </a:defRPr>
            </a:lvl1pPr>
          </a:lstStyle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</a:rPr>
              <a:t>&lt;footer&gt;</a:t>
            </a:r>
            <a:endParaRPr b="0" lang="en-US" sz="800" spc="-1" strike="noStrike">
              <a:latin typeface="Times New Roman"/>
            </a:endParaRPr>
          </a:p>
        </p:txBody>
      </p:sp>
      <p:sp>
        <p:nvSpPr>
          <p:cNvPr id="59" name="PlaceHolder 2"/>
          <p:cNvSpPr>
            <a:spLocks noGrp="1"/>
          </p:cNvSpPr>
          <p:nvPr>
            <p:ph type="sldNum" idx="4"/>
          </p:nvPr>
        </p:nvSpPr>
        <p:spPr>
          <a:xfrm>
            <a:off x="11783880" y="6555600"/>
            <a:ext cx="122760" cy="21420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ctr">
              <a:lnSpc>
                <a:spcPct val="100000"/>
              </a:lnSpc>
              <a:buNone/>
              <a:defRPr b="0" lang="en-US" sz="800" spc="-1" strike="noStrike">
                <a:solidFill>
                  <a:srgbClr val="767676"/>
                </a:solidFill>
                <a:latin typeface="Verdana"/>
              </a:defRPr>
            </a:lvl1pPr>
          </a:lstStyle>
          <a:p>
            <a:pPr algn="ctr">
              <a:lnSpc>
                <a:spcPct val="100000"/>
              </a:lnSpc>
              <a:buNone/>
            </a:pPr>
            <a:fld id="{4FA94E87-314F-4B38-A3BC-339CD4843A3A}" type="slidenum">
              <a:rPr b="0" lang="en-US" sz="800" spc="-1" strike="noStrike">
                <a:solidFill>
                  <a:srgbClr val="767676"/>
                </a:solidFill>
                <a:latin typeface="Verdana"/>
              </a:rPr>
              <a:t>&lt;number&gt;</a:t>
            </a:fld>
            <a:endParaRPr b="0" lang="en-US" sz="800" spc="-1" strike="noStrike">
              <a:latin typeface="Times New Roman"/>
            </a:endParaRPr>
          </a:p>
        </p:txBody>
      </p:sp>
      <p:sp>
        <p:nvSpPr>
          <p:cNvPr id="60" name="PlaceHolder 3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k to edit the title text forma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61" name="PlaceHolder 4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</a:t>
            </a:r>
            <a:r>
              <a:rPr b="0" lang="en-US" sz="3200" spc="-1" strike="noStrike">
                <a:latin typeface="Arial"/>
              </a:rPr>
              <a:t>the outline </a:t>
            </a:r>
            <a:r>
              <a:rPr b="0" lang="en-US" sz="3200" spc="-1" strike="noStrike">
                <a:latin typeface="Arial"/>
              </a:rPr>
              <a:t>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</a:t>
            </a:r>
            <a:r>
              <a:rPr b="0" lang="en-US" sz="2800" spc="-1" strike="noStrike">
                <a:latin typeface="Arial"/>
              </a:rPr>
              <a:t>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</a:t>
            </a:r>
            <a:r>
              <a:rPr b="0" lang="en-US" sz="2400" spc="-1" strike="noStrike">
                <a:latin typeface="Arial"/>
              </a:rPr>
              <a:t>Outline </a:t>
            </a:r>
            <a:r>
              <a:rPr b="0" lang="en-US" sz="2400" spc="-1" strike="noStrike">
                <a:latin typeface="Arial"/>
              </a:rPr>
              <a:t>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</a:t>
            </a:r>
            <a:r>
              <a:rPr b="0" lang="en-US" sz="2000" spc="-1" strike="noStrike">
                <a:latin typeface="Arial"/>
              </a:rPr>
              <a:t>Outline </a:t>
            </a:r>
            <a:r>
              <a:rPr b="0" lang="en-US" sz="2000" spc="-1" strike="noStrike">
                <a:latin typeface="Arial"/>
              </a:rPr>
              <a:t>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</a:t>
            </a:r>
            <a:r>
              <a:rPr b="0" lang="en-US" sz="2000" spc="-1" strike="noStrike">
                <a:latin typeface="Arial"/>
              </a:rPr>
              <a:t>Outline </a:t>
            </a:r>
            <a:r>
              <a:rPr b="0" lang="en-US" sz="2000" spc="-1" strike="noStrike">
                <a:latin typeface="Arial"/>
              </a:rPr>
              <a:t>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</a:t>
            </a:r>
            <a:r>
              <a:rPr b="0" lang="en-US" sz="2000" spc="-1" strike="noStrike">
                <a:latin typeface="Arial"/>
              </a:rPr>
              <a:t>th </a:t>
            </a:r>
            <a:r>
              <a:rPr b="0" lang="en-US" sz="2000" spc="-1" strike="noStrike">
                <a:latin typeface="Arial"/>
              </a:rPr>
              <a:t>Out</a:t>
            </a:r>
            <a:r>
              <a:rPr b="0" lang="en-US" sz="2000" spc="-1" strike="noStrike">
                <a:latin typeface="Arial"/>
              </a:rPr>
              <a:t>line </a:t>
            </a:r>
            <a:r>
              <a:rPr b="0" lang="en-US" sz="2000" spc="-1" strike="noStrike">
                <a:latin typeface="Arial"/>
              </a:rPr>
              <a:t>Lev</a:t>
            </a:r>
            <a:r>
              <a:rPr b="0" lang="en-US" sz="2000" spc="-1" strike="noStrike">
                <a:latin typeface="Arial"/>
              </a:rPr>
              <a:t>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v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n</a:t>
            </a:r>
            <a:r>
              <a:rPr b="0" lang="en-US" sz="2000" spc="-1" strike="noStrike">
                <a:latin typeface="Arial"/>
              </a:rPr>
              <a:t>t</a:t>
            </a:r>
            <a:r>
              <a:rPr b="0" lang="en-US" sz="2000" spc="-1" strike="noStrike">
                <a:latin typeface="Arial"/>
              </a:rPr>
              <a:t>h</a:t>
            </a:r>
            <a:r>
              <a:rPr b="0" lang="en-US" sz="2000" spc="-1" strike="noStrike">
                <a:latin typeface="Arial"/>
              </a:rPr>
              <a:t> </a:t>
            </a:r>
            <a:r>
              <a:rPr b="0" lang="en-US" sz="2000" spc="-1" strike="noStrike">
                <a:latin typeface="Arial"/>
              </a:rPr>
              <a:t>O</a:t>
            </a:r>
            <a:r>
              <a:rPr b="0" lang="en-US" sz="2000" spc="-1" strike="noStrike">
                <a:latin typeface="Arial"/>
              </a:rPr>
              <a:t>u</a:t>
            </a:r>
            <a:r>
              <a:rPr b="0" lang="en-US" sz="2000" spc="-1" strike="noStrike">
                <a:latin typeface="Arial"/>
              </a:rPr>
              <a:t>t</a:t>
            </a:r>
            <a:r>
              <a:rPr b="0" lang="en-US" sz="2000" spc="-1" strike="noStrike">
                <a:latin typeface="Arial"/>
              </a:rPr>
              <a:t>l</a:t>
            </a:r>
            <a:r>
              <a:rPr b="0" lang="en-US" sz="2000" spc="-1" strike="noStrike">
                <a:latin typeface="Arial"/>
              </a:rPr>
              <a:t>i</a:t>
            </a:r>
            <a:r>
              <a:rPr b="0" lang="en-US" sz="2000" spc="-1" strike="noStrike">
                <a:latin typeface="Arial"/>
              </a:rPr>
              <a:t>n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 </a:t>
            </a:r>
            <a:r>
              <a:rPr b="0" lang="en-US" sz="2000" spc="-1" strike="noStrike">
                <a:latin typeface="Arial"/>
              </a:rPr>
              <a:t>L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v</a:t>
            </a:r>
            <a:r>
              <a:rPr b="0" lang="en-US" sz="2000" spc="-1" strike="noStrike">
                <a:latin typeface="Arial"/>
              </a:rPr>
              <a:t>e</a:t>
            </a:r>
            <a:r>
              <a:rPr b="0" lang="en-US" sz="2000" spc="-1" strike="noStrike">
                <a:latin typeface="Arial"/>
              </a:rPr>
              <a:t>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ext Placeholder 17"/>
          <p:cNvSpPr/>
          <p:nvPr/>
        </p:nvSpPr>
        <p:spPr>
          <a:xfrm>
            <a:off x="3529080" y="908640"/>
            <a:ext cx="4066920" cy="547164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05" name="Text Placeholder 17"/>
          <p:cNvSpPr/>
          <p:nvPr/>
        </p:nvSpPr>
        <p:spPr>
          <a:xfrm>
            <a:off x="7707960" y="914400"/>
            <a:ext cx="4219560" cy="546588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06" name="PlaceHolder 1"/>
          <p:cNvSpPr>
            <a:spLocks noGrp="1"/>
          </p:cNvSpPr>
          <p:nvPr>
            <p:ph/>
          </p:nvPr>
        </p:nvSpPr>
        <p:spPr>
          <a:xfrm>
            <a:off x="7747920" y="914400"/>
            <a:ext cx="417528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US" sz="1400" spc="-1" strike="noStrike">
                <a:solidFill>
                  <a:srgbClr val="12abdb"/>
                </a:solidFill>
                <a:latin typeface="Verdana"/>
              </a:rPr>
              <a:t>Experience (1/4)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07" name="PlaceHolder 2"/>
          <p:cNvSpPr>
            <a:spLocks noGrp="1"/>
          </p:cNvSpPr>
          <p:nvPr>
            <p:ph/>
          </p:nvPr>
        </p:nvSpPr>
        <p:spPr>
          <a:xfrm>
            <a:off x="3584160" y="959760"/>
            <a:ext cx="395892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12abdb"/>
                </a:solidFill>
                <a:latin typeface="Verdana"/>
              </a:rPr>
              <a:t>Education &amp; Employmen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08" name="PlaceHolder 3"/>
          <p:cNvSpPr>
            <a:spLocks noGrp="1"/>
          </p:cNvSpPr>
          <p:nvPr>
            <p:ph/>
          </p:nvPr>
        </p:nvSpPr>
        <p:spPr>
          <a:xfrm>
            <a:off x="407880" y="5580720"/>
            <a:ext cx="3022560" cy="33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Languag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09" name="PlaceHolder 4"/>
          <p:cNvSpPr>
            <a:spLocks noGrp="1"/>
          </p:cNvSpPr>
          <p:nvPr>
            <p:ph/>
          </p:nvPr>
        </p:nvSpPr>
        <p:spPr>
          <a:xfrm>
            <a:off x="407880" y="3601800"/>
            <a:ext cx="302256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marL="228600" indent="-227520">
              <a:lnSpc>
                <a:spcPct val="9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1" lang="en-US" sz="2000" spc="-1" strike="noStrike">
                <a:solidFill>
                  <a:srgbClr val="ffffff"/>
                </a:solidFill>
                <a:latin typeface="Calibri"/>
                <a:ea typeface="DejaVu Sans"/>
              </a:rPr>
              <a:t>Grosjean Nicolas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10" name="PlaceHolder 5"/>
          <p:cNvSpPr>
            <a:spLocks noGrp="1"/>
          </p:cNvSpPr>
          <p:nvPr>
            <p:ph/>
          </p:nvPr>
        </p:nvSpPr>
        <p:spPr>
          <a:xfrm>
            <a:off x="407880" y="4038120"/>
            <a:ext cx="302256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Architec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11" name="PlaceHolder 6"/>
          <p:cNvSpPr>
            <a:spLocks noGrp="1"/>
          </p:cNvSpPr>
          <p:nvPr>
            <p:ph/>
          </p:nvPr>
        </p:nvSpPr>
        <p:spPr>
          <a:xfrm>
            <a:off x="407880" y="5913360"/>
            <a:ext cx="302256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ffffff"/>
                </a:solidFill>
                <a:latin typeface="Calibri"/>
                <a:ea typeface="DejaVu Sans"/>
              </a:rPr>
              <a:t>French(native), English (fluent), German(B2)</a:t>
            </a:r>
            <a:endParaRPr b="0" lang="en-US" sz="1200" spc="-1" strike="noStrike">
              <a:latin typeface="Arial"/>
            </a:endParaRPr>
          </a:p>
        </p:txBody>
      </p:sp>
      <p:sp>
        <p:nvSpPr>
          <p:cNvPr id="112" name="PlaceHolder 7"/>
          <p:cNvSpPr>
            <a:spLocks noGrp="1"/>
          </p:cNvSpPr>
          <p:nvPr>
            <p:ph/>
          </p:nvPr>
        </p:nvSpPr>
        <p:spPr>
          <a:xfrm>
            <a:off x="3584160" y="2559960"/>
            <a:ext cx="395892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12abdb"/>
                </a:solidFill>
                <a:latin typeface="Verdana"/>
              </a:rPr>
              <a:t>Qualific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13" name="PlaceHolder 8"/>
          <p:cNvSpPr>
            <a:spLocks noGrp="1"/>
          </p:cNvSpPr>
          <p:nvPr>
            <p:ph/>
          </p:nvPr>
        </p:nvSpPr>
        <p:spPr>
          <a:xfrm>
            <a:off x="407880" y="4484520"/>
            <a:ext cx="3022560" cy="33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Key Competenci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14" name="PlaceHolder 9"/>
          <p:cNvSpPr>
            <a:spLocks noGrp="1"/>
          </p:cNvSpPr>
          <p:nvPr>
            <p:ph/>
          </p:nvPr>
        </p:nvSpPr>
        <p:spPr>
          <a:xfrm>
            <a:off x="408960" y="4833360"/>
            <a:ext cx="302148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Development, Integration, test &amp; valid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15" name="PlaceHolder 10"/>
          <p:cNvSpPr>
            <a:spLocks noGrp="1"/>
          </p:cNvSpPr>
          <p:nvPr>
            <p:ph/>
          </p:nvPr>
        </p:nvSpPr>
        <p:spPr>
          <a:xfrm>
            <a:off x="3575880" y="4114800"/>
            <a:ext cx="3959640" cy="21754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Languages:</a:t>
            </a:r>
            <a:r>
              <a:rPr b="0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C++, Qt, Ada, Python, bash script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Tools :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Doxygen, docker, Virtual Machine, QAC, cppcheck, Valgrid, gdb, MS Project, ...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Coding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Standards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: Object Oriented Development, MISRA-C...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Configuration Management: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cmake, git subversion, Jira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Requirement Management:</a:t>
            </a:r>
            <a:r>
              <a:rPr b="0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DOORS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Design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: Real Time System, MBSE, UML, Argo UML, Enterprise Architect, coding / decoding mdf4 files, CAN, LIN...</a:t>
            </a:r>
            <a:endParaRPr b="0" lang="en-US" sz="1050" spc="-1" strike="noStrike">
              <a:latin typeface="Arial"/>
            </a:endParaRPr>
          </a:p>
          <a:p>
            <a:pPr lvl="1" marL="260280" indent="-170280">
              <a:lnSpc>
                <a:spcPct val="100000"/>
              </a:lnSpc>
              <a:spcBef>
                <a:spcPts val="601"/>
              </a:spcBef>
              <a:buClr>
                <a:srgbClr val="92d050"/>
              </a:buClr>
              <a:buFont typeface="Wingdings" charset="2"/>
              <a:buChar char=""/>
            </a:pPr>
            <a:r>
              <a:rPr b="1" lang="en-US" sz="1050" spc="-1" strike="noStrike">
                <a:solidFill>
                  <a:srgbClr val="0070ad"/>
                </a:solidFill>
                <a:latin typeface="Calibri"/>
                <a:ea typeface="DejaVu Sans"/>
              </a:rPr>
              <a:t>Operating system: </a:t>
            </a:r>
            <a:r>
              <a:rPr b="0" lang="en-US" sz="1050" spc="-1" strike="noStrike">
                <a:solidFill>
                  <a:srgbClr val="000000"/>
                </a:solidFill>
                <a:latin typeface="Calibri"/>
                <a:ea typeface="DejaVu Sans"/>
              </a:rPr>
              <a:t>Linux (native or virtual machine), low level interface (usb, wifi)</a:t>
            </a:r>
            <a:endParaRPr b="0" lang="en-US" sz="1050" spc="-1" strike="noStrike">
              <a:latin typeface="Arial"/>
            </a:endParaRPr>
          </a:p>
        </p:txBody>
      </p:sp>
      <p:sp>
        <p:nvSpPr>
          <p:cNvPr id="116" name="PlaceHolder 11"/>
          <p:cNvSpPr>
            <a:spLocks noGrp="1"/>
          </p:cNvSpPr>
          <p:nvPr>
            <p:ph/>
          </p:nvPr>
        </p:nvSpPr>
        <p:spPr>
          <a:xfrm>
            <a:off x="7747920" y="930960"/>
            <a:ext cx="4170960" cy="5391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1417"/>
              </a:spcBef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spcBef>
                <a:spcPts val="1417"/>
              </a:spcBef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Data Analys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Updating MagicDraw Diagrams with new requirements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Virtual Machine, MagicDraw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check and draw the connection between components</a:t>
            </a:r>
            <a:endParaRPr b="0" lang="en-US" sz="950" spc="-1" strike="noStrike">
              <a:latin typeface="Arial"/>
            </a:endParaRPr>
          </a:p>
          <a:p>
            <a:pPr>
              <a:lnSpc>
                <a:spcPct val="100000"/>
              </a:lnSpc>
              <a:spcBef>
                <a:spcPts val="1417"/>
              </a:spcBef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Requirement Analys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arrying out checks of the requirements and their interconnection in the V-cycle 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MATLAB, Simulink, Codebeam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tection of several logical or syntactic errors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nalyse and Documentation of a un-documented library (part of ICV-L Software)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Risk Manag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Truck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isk Analysis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FMEA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 complete analyses was delivered.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Architect / Lead Software Develop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latin typeface="Verdana"/>
                <a:ea typeface="Verdana"/>
              </a:rPr>
              <a:t>Automotive supplier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reation of MDF4 reader and interpreter software.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++, CAN, LIN, binaries analysis, Object Oriented, Linux, Valgrind, mdf4 files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 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Software Architecture : multiple executable with a common library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Quality Management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Performance Improvement (Memory leaks, optimisation)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Software development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	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	</a:t>
            </a:r>
            <a:endParaRPr b="0" lang="en-US" sz="1000" spc="-1" strike="noStrike">
              <a:latin typeface="Arial"/>
            </a:endParaRPr>
          </a:p>
        </p:txBody>
      </p:sp>
      <p:graphicFrame>
        <p:nvGraphicFramePr>
          <p:cNvPr id="117" name="Table 28"/>
          <p:cNvGraphicFramePr/>
          <p:nvPr/>
        </p:nvGraphicFramePr>
        <p:xfrm>
          <a:off x="3527640" y="1402560"/>
          <a:ext cx="4033800" cy="1189800"/>
        </p:xfrm>
        <a:graphic>
          <a:graphicData uri="http://schemas.openxmlformats.org/drawingml/2006/table">
            <a:tbl>
              <a:tblPr/>
              <a:tblGrid>
                <a:gridCol w="1113840"/>
                <a:gridCol w="2920320"/>
              </a:tblGrid>
              <a:tr h="22896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Verdana"/>
                        </a:rPr>
                        <a:t>Since 1999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2240">
                      <a:noFill/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spcAft>
                          <a:spcPts val="99"/>
                        </a:spcAft>
                        <a:buNone/>
                      </a:pPr>
                      <a:r>
                        <a:rPr b="0" lang="en-GB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Altran , Consultant (France, Bekgium, UK, Germany...)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2240">
                      <a:noFill/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</a:tr>
              <a:tr h="22896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90000"/>
                        </a:lnSpc>
                        <a:spcAft>
                          <a:spcPts val="99"/>
                        </a:spcAft>
                        <a:buNone/>
                        <a:tabLst>
                          <a:tab algn="l" pos="0"/>
                        </a:tabLst>
                      </a:pPr>
                      <a:r>
                        <a:rPr b="0" lang="en-GB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1994 - 1999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  <a:tabLst>
                          <a:tab algn="l" pos="0"/>
                        </a:tabLst>
                      </a:pPr>
                      <a:r>
                        <a:rPr b="0" lang="fr-FR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SDI, (Paris) Consultant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</a:tr>
              <a:tr h="22896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  <a:tabLst>
                          <a:tab algn="l" pos="0"/>
                        </a:tabLst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1993 - 1994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spcAft>
                          <a:spcPts val="99"/>
                        </a:spcAft>
                        <a:buNone/>
                        <a:tabLst>
                          <a:tab algn="l" pos="0"/>
                        </a:tabLst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DCN Paris, Nuclear Safety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</a:tr>
              <a:tr h="50328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1991 - 1993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just">
                        <a:lnSpc>
                          <a:spcPct val="100000"/>
                        </a:lnSpc>
                        <a:buNone/>
                      </a:pP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Graduated (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Times New Roman"/>
                          <a:ea typeface="DejaVu Sans"/>
                        </a:rPr>
                        <a:t>Diplôme d’Ingénieur, the French </a:t>
                      </a:r>
                      <a:r>
                        <a:rPr b="0" lang="de-DE" sz="900" spc="-1" strike="noStrike" u="sng">
                          <a:solidFill>
                            <a:srgbClr val="000000"/>
                          </a:solidFill>
                          <a:uFillTx/>
                          <a:latin typeface="Times New Roman"/>
                          <a:ea typeface="DejaVu Sans"/>
                        </a:rPr>
                        <a:t>Master’s degree in Engineering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Times New Roman"/>
                          <a:ea typeface="DejaVu Sans"/>
                        </a:rPr>
                        <a:t>) 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from 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Times New Roman"/>
                          <a:ea typeface="DejaVu Sans"/>
                        </a:rPr>
                        <a:t>ENSTA ParisTech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Calibri"/>
                          <a:ea typeface="DejaVu Sans"/>
                        </a:rPr>
                        <a:t>, </a:t>
                      </a:r>
                      <a:r>
                        <a:rPr b="0" lang="de-DE" sz="900" spc="-1" strike="noStrike">
                          <a:solidFill>
                            <a:srgbClr val="000000"/>
                          </a:solidFill>
                          <a:latin typeface="Times New Roman"/>
                          <a:ea typeface="DejaVu Sans"/>
                        </a:rPr>
                        <a:t>École Nationale Supérieure de Techniques Avancée</a:t>
                      </a:r>
                      <a:endParaRPr b="0" lang="en-US" sz="900" spc="-1" strike="noStrike">
                        <a:latin typeface="Arial"/>
                      </a:endParaRPr>
                    </a:p>
                  </a:txBody>
                  <a:tcPr anchor="ctr" marL="91440" marR="91440">
                    <a:lnL w="12240">
                      <a:noFill/>
                    </a:lnL>
                    <a:lnR w="12240">
                      <a:noFill/>
                    </a:lnR>
                    <a:lnT w="18720">
                      <a:solidFill>
                        <a:srgbClr val="bfbfbf"/>
                      </a:solidFill>
                    </a:lnT>
                    <a:lnB w="18720">
                      <a:solidFill>
                        <a:srgbClr val="bfbfbf"/>
                      </a:solidFill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18" name="TextBox 22"/>
          <p:cNvSpPr/>
          <p:nvPr/>
        </p:nvSpPr>
        <p:spPr>
          <a:xfrm>
            <a:off x="44640" y="6503040"/>
            <a:ext cx="582984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This document contains personal data to a not inconsiderable extent. It shall be used in accordance with the </a:t>
            </a:r>
            <a:endParaRPr b="0" lang="en-US" sz="8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need-to-know principle and only for the agreed purpose, after which deletion shall be considered immediately.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119" name="Text Placeholder 1"/>
          <p:cNvSpPr/>
          <p:nvPr/>
        </p:nvSpPr>
        <p:spPr>
          <a:xfrm>
            <a:off x="3584160" y="2971800"/>
            <a:ext cx="3958920" cy="1096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ctr">
            <a:noAutofit/>
          </a:bodyPr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0070ad"/>
                </a:solidFill>
                <a:latin typeface="Calibri"/>
                <a:ea typeface="Noto Sans CJK SC"/>
              </a:rPr>
              <a:t>As a software architect working in the field of embedded systems (</a:t>
            </a:r>
            <a:r>
              <a:rPr b="0" lang="en-US" sz="1200" spc="-1" strike="noStrike">
                <a:solidFill>
                  <a:srgbClr val="0070ad"/>
                </a:solidFill>
                <a:latin typeface="Calibri"/>
                <a:ea typeface="DejaVu Sans"/>
              </a:rPr>
              <a:t>medical equipment, car, train, plane, satellite, ...) for more than 20 years, I am enthusiastic about designing, developing, testing and maintaining high quality complex systems. With new requirements</a:t>
            </a:r>
            <a:endParaRPr b="0" lang="en-US" sz="12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ext Placeholder 5"/>
          <p:cNvSpPr/>
          <p:nvPr/>
        </p:nvSpPr>
        <p:spPr>
          <a:xfrm>
            <a:off x="7604640" y="914400"/>
            <a:ext cx="4219560" cy="548604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21" name="PlaceHolder 1"/>
          <p:cNvSpPr>
            <a:spLocks noGrp="1"/>
          </p:cNvSpPr>
          <p:nvPr>
            <p:ph/>
          </p:nvPr>
        </p:nvSpPr>
        <p:spPr>
          <a:xfrm>
            <a:off x="3429000" y="313200"/>
            <a:ext cx="417528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US" sz="1400" spc="-1" strike="noStrike">
                <a:solidFill>
                  <a:srgbClr val="12abdb"/>
                </a:solidFill>
                <a:latin typeface="Verdana"/>
              </a:rPr>
              <a:t>Experience (2/4)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2" name="PlaceHolder 2"/>
          <p:cNvSpPr>
            <a:spLocks noGrp="1"/>
          </p:cNvSpPr>
          <p:nvPr>
            <p:ph/>
          </p:nvPr>
        </p:nvSpPr>
        <p:spPr>
          <a:xfrm>
            <a:off x="407880" y="5580720"/>
            <a:ext cx="3022560" cy="33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Languag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3" name="PlaceHolder 3"/>
          <p:cNvSpPr>
            <a:spLocks noGrp="1"/>
          </p:cNvSpPr>
          <p:nvPr>
            <p:ph/>
          </p:nvPr>
        </p:nvSpPr>
        <p:spPr>
          <a:xfrm>
            <a:off x="407880" y="3601800"/>
            <a:ext cx="302256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marL="228600" indent="-227520">
              <a:lnSpc>
                <a:spcPct val="9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1" lang="en-US" sz="2000" spc="-1" strike="noStrike">
                <a:solidFill>
                  <a:srgbClr val="ffffff"/>
                </a:solidFill>
                <a:latin typeface="Calibri"/>
                <a:ea typeface="DejaVu Sans"/>
              </a:rPr>
              <a:t>Grosjean Nicolas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24" name="PlaceHolder 4"/>
          <p:cNvSpPr>
            <a:spLocks noGrp="1"/>
          </p:cNvSpPr>
          <p:nvPr>
            <p:ph/>
          </p:nvPr>
        </p:nvSpPr>
        <p:spPr>
          <a:xfrm>
            <a:off x="407880" y="4038120"/>
            <a:ext cx="302256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Architec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5" name="PlaceHolder 5"/>
          <p:cNvSpPr>
            <a:spLocks noGrp="1"/>
          </p:cNvSpPr>
          <p:nvPr>
            <p:ph/>
          </p:nvPr>
        </p:nvSpPr>
        <p:spPr>
          <a:xfrm>
            <a:off x="407880" y="5913360"/>
            <a:ext cx="302256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ffffff"/>
                </a:solidFill>
                <a:latin typeface="Calibri"/>
                <a:ea typeface="DejaVu Sans"/>
              </a:rPr>
              <a:t>French(native), English (fluent), German(B2)</a:t>
            </a:r>
            <a:endParaRPr b="0" lang="en-US" sz="1200" spc="-1" strike="noStrike">
              <a:latin typeface="Arial"/>
            </a:endParaRPr>
          </a:p>
        </p:txBody>
      </p:sp>
      <p:sp>
        <p:nvSpPr>
          <p:cNvPr id="126" name="PlaceHolder 6"/>
          <p:cNvSpPr>
            <a:spLocks noGrp="1"/>
          </p:cNvSpPr>
          <p:nvPr>
            <p:ph/>
          </p:nvPr>
        </p:nvSpPr>
        <p:spPr>
          <a:xfrm>
            <a:off x="407880" y="4484520"/>
            <a:ext cx="3022560" cy="33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Key Competenci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7" name="PlaceHolder 7"/>
          <p:cNvSpPr>
            <a:spLocks noGrp="1"/>
          </p:cNvSpPr>
          <p:nvPr>
            <p:ph/>
          </p:nvPr>
        </p:nvSpPr>
        <p:spPr>
          <a:xfrm>
            <a:off x="408960" y="4833360"/>
            <a:ext cx="302148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Development, Integration, test &amp; valid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28" name="PlaceHolder 8"/>
          <p:cNvSpPr>
            <a:spLocks noGrp="1"/>
          </p:cNvSpPr>
          <p:nvPr>
            <p:ph/>
          </p:nvPr>
        </p:nvSpPr>
        <p:spPr>
          <a:xfrm>
            <a:off x="7707960" y="685800"/>
            <a:ext cx="4170960" cy="5391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1417"/>
              </a:spcBef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Tester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latin typeface="Verdana"/>
                <a:ea typeface="Verdana"/>
              </a:rPr>
              <a:t>A Software with poor quality should be tested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c++, cmake, gdb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Make drastic choice about the tools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Test implementation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Test Coverage management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Bug Management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Bug, test and requirement Documentation,</a:t>
            </a:r>
            <a:endParaRPr b="0" lang="en-US" sz="95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Test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From objects positions, this software compute the objects trajectories. It should be tested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OORS, gdb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heck of requirements (incomplete or contradictory)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Test plan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Test report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Integrato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Integration of incompatible librarie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++, QAC, gvim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tegration of BMW library with Bosh Software. The Interface were incompatible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very short delay (deadline has already passed!)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Report error and bug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Interface adaptation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Unit and Integration Test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Interface with supplier.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</p:txBody>
      </p:sp>
      <p:sp>
        <p:nvSpPr>
          <p:cNvPr id="129" name="TextBox 2"/>
          <p:cNvSpPr/>
          <p:nvPr/>
        </p:nvSpPr>
        <p:spPr>
          <a:xfrm>
            <a:off x="44640" y="6503040"/>
            <a:ext cx="582984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This document contains personal data to a not inconsiderable extent. It shall be used in accordance with the </a:t>
            </a:r>
            <a:endParaRPr b="0" lang="en-US" sz="8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need-to-know principle and only for the agreed purpose, after which deletion shall be considered immediately.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130" name="Text Placeholder 3"/>
          <p:cNvSpPr/>
          <p:nvPr/>
        </p:nvSpPr>
        <p:spPr>
          <a:xfrm>
            <a:off x="3323880" y="914400"/>
            <a:ext cx="4280400" cy="548604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31" name="PlaceHolder 15"/>
          <p:cNvSpPr/>
          <p:nvPr/>
        </p:nvSpPr>
        <p:spPr>
          <a:xfrm>
            <a:off x="3433320" y="685800"/>
            <a:ext cx="4170960" cy="511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950" spc="-1" strike="noStrike">
                <a:latin typeface="Verdana"/>
                <a:ea typeface="Verdana"/>
              </a:rPr>
              <a:t>Lead Software Engineer, Software Managemen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Updating </a:t>
            </a:r>
            <a:r>
              <a:rPr b="0" lang="en-US" sz="950" spc="-1" strike="noStrike">
                <a:latin typeface="Verdana"/>
                <a:ea typeface="Verdana"/>
              </a:rPr>
              <a:t>driving simulation softwar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CMake, bash script, Gvim, Linux, Makefile 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Design and complete update of the build and software dependency management tool (&gt;400 Makefile converted to cmake)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Development of new functionality related to the synchronization of sound, image and vibration</a:t>
            </a:r>
            <a:endParaRPr b="0" lang="en-US" sz="95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utomotive suppliers – Infotainment Softwar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latin typeface="Verdana"/>
                <a:ea typeface="Verdana"/>
              </a:rPr>
              <a:t>libusb, c++, wifi, coding and decoding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Module Requirement, coding and testing (usb / wifi)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reate USB bus simulator (libusb, UDisk2)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Manage BMW CommAPI Interface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Teaching to the team the art of testing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Test Implementation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oding and Decoding Wifi messages (apple, miramax...)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Architec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Camera system to replace mirror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Entreprise Architect, c++, cmake, gdb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Define the software architecture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Define the milestones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Manage the requirement in a R&amp;D environment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heck the software quality (5 people)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oding and Testing the module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Bug Management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Documentation.</a:t>
            </a:r>
            <a:endParaRPr b="0" lang="en-US" sz="10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2"/>
          <p:cNvSpPr/>
          <p:nvPr/>
        </p:nvSpPr>
        <p:spPr>
          <a:xfrm>
            <a:off x="7543800" y="685800"/>
            <a:ext cx="4383720" cy="581688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33" name="PlaceHolder 1"/>
          <p:cNvSpPr>
            <a:spLocks noGrp="1"/>
          </p:cNvSpPr>
          <p:nvPr>
            <p:ph/>
          </p:nvPr>
        </p:nvSpPr>
        <p:spPr>
          <a:xfrm>
            <a:off x="3429000" y="310320"/>
            <a:ext cx="417528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US" sz="1400" spc="-1" strike="noStrike">
                <a:solidFill>
                  <a:srgbClr val="12abdb"/>
                </a:solidFill>
                <a:latin typeface="Verdana"/>
              </a:rPr>
              <a:t>Experience (3/4)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34" name="PlaceHolder 2"/>
          <p:cNvSpPr>
            <a:spLocks noGrp="1"/>
          </p:cNvSpPr>
          <p:nvPr>
            <p:ph/>
          </p:nvPr>
        </p:nvSpPr>
        <p:spPr>
          <a:xfrm>
            <a:off x="407880" y="5580720"/>
            <a:ext cx="3022560" cy="33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Languag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35" name="PlaceHolder 3"/>
          <p:cNvSpPr>
            <a:spLocks noGrp="1"/>
          </p:cNvSpPr>
          <p:nvPr>
            <p:ph/>
          </p:nvPr>
        </p:nvSpPr>
        <p:spPr>
          <a:xfrm>
            <a:off x="407880" y="3601800"/>
            <a:ext cx="302256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marL="228600" indent="-227520">
              <a:lnSpc>
                <a:spcPct val="9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1" lang="en-US" sz="2000" spc="-1" strike="noStrike">
                <a:solidFill>
                  <a:srgbClr val="ffffff"/>
                </a:solidFill>
                <a:latin typeface="Calibri"/>
                <a:ea typeface="DejaVu Sans"/>
              </a:rPr>
              <a:t>Grosjean Nicolas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36" name="PlaceHolder 4"/>
          <p:cNvSpPr>
            <a:spLocks noGrp="1"/>
          </p:cNvSpPr>
          <p:nvPr>
            <p:ph/>
          </p:nvPr>
        </p:nvSpPr>
        <p:spPr>
          <a:xfrm>
            <a:off x="407880" y="4038120"/>
            <a:ext cx="302256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Architec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37" name="PlaceHolder 5"/>
          <p:cNvSpPr>
            <a:spLocks noGrp="1"/>
          </p:cNvSpPr>
          <p:nvPr>
            <p:ph/>
          </p:nvPr>
        </p:nvSpPr>
        <p:spPr>
          <a:xfrm>
            <a:off x="407880" y="5913360"/>
            <a:ext cx="302256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ffffff"/>
                </a:solidFill>
                <a:latin typeface="Calibri"/>
                <a:ea typeface="DejaVu Sans"/>
              </a:rPr>
              <a:t>French(native), English (fluent), German(B2)</a:t>
            </a:r>
            <a:endParaRPr b="0" lang="en-US" sz="1200" spc="-1" strike="noStrike">
              <a:latin typeface="Arial"/>
            </a:endParaRPr>
          </a:p>
        </p:txBody>
      </p:sp>
      <p:sp>
        <p:nvSpPr>
          <p:cNvPr id="138" name="PlaceHolder 6"/>
          <p:cNvSpPr>
            <a:spLocks noGrp="1"/>
          </p:cNvSpPr>
          <p:nvPr>
            <p:ph/>
          </p:nvPr>
        </p:nvSpPr>
        <p:spPr>
          <a:xfrm>
            <a:off x="407880" y="4484520"/>
            <a:ext cx="3022560" cy="33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Key Competenci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39" name="PlaceHolder 7"/>
          <p:cNvSpPr>
            <a:spLocks noGrp="1"/>
          </p:cNvSpPr>
          <p:nvPr>
            <p:ph/>
          </p:nvPr>
        </p:nvSpPr>
        <p:spPr>
          <a:xfrm>
            <a:off x="408960" y="4833360"/>
            <a:ext cx="302148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Development, Integration, test &amp; valid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40" name="PlaceHolder 8"/>
          <p:cNvSpPr>
            <a:spLocks noGrp="1"/>
          </p:cNvSpPr>
          <p:nvPr>
            <p:ph/>
          </p:nvPr>
        </p:nvSpPr>
        <p:spPr>
          <a:xfrm>
            <a:off x="7714080" y="551520"/>
            <a:ext cx="4170960" cy="5391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1417"/>
              </a:spcBef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Architec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ailroad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IP Train NAT (Nouvelle Automotrice Transilien/Spacium 3.06)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Embedded Linux, C++, Qt.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100" spc="-1" strike="noStrike">
                <a:solidFill>
                  <a:srgbClr val="595959"/>
                </a:solidFill>
                <a:latin typeface="Arial"/>
                <a:ea typeface="Verdana"/>
              </a:rPr>
              <a:t>T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eam coordinator for the development of the NAT HMI software embedded in trains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Software design, coordination of several software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Integrator for IHM Version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Maintenance of linux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PPC hardware validation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Creation of a cooperative wiki on a server, in order to centralize the team knowledge.</a:t>
            </a:r>
            <a:endParaRPr b="0" lang="en-US" sz="95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ailroad UK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“Virgin Train” class consists in a new generation of trains in United Kingdom, and will be quite a big step for the embedded software in general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latin typeface="Verdana"/>
                <a:ea typeface="Verdana"/>
              </a:rPr>
              <a:t>Embedded Windows CE, C++, MFC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Design, development and tests of a HMI software embedded in trains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HMI software development and integration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Supplier technical interface (PEP / Kontron Belgium).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Develop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Aircraf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In the realm of air control, Thomson upgraded its software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++, QAC, gvim, ASTERIX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Design, development and tests of software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Programming of the coding / decoding layer within flexible software.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</p:txBody>
      </p:sp>
      <p:sp>
        <p:nvSpPr>
          <p:cNvPr id="141" name="TextBox 3"/>
          <p:cNvSpPr/>
          <p:nvPr/>
        </p:nvSpPr>
        <p:spPr>
          <a:xfrm>
            <a:off x="44640" y="6503040"/>
            <a:ext cx="582984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This document contains personal data to a not inconsiderable extent. It shall be used in accordance with the </a:t>
            </a:r>
            <a:endParaRPr b="0" lang="en-US" sz="8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need-to-know principle and only for the agreed purpose, after which deletion shall be considered immediately.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142" name="Text Placeholder 4"/>
          <p:cNvSpPr/>
          <p:nvPr/>
        </p:nvSpPr>
        <p:spPr>
          <a:xfrm>
            <a:off x="3200400" y="685800"/>
            <a:ext cx="4343040" cy="581688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43" name="PlaceHolder 29"/>
          <p:cNvSpPr/>
          <p:nvPr/>
        </p:nvSpPr>
        <p:spPr>
          <a:xfrm>
            <a:off x="3372480" y="390240"/>
            <a:ext cx="4170960" cy="511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Architec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Automotiv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latin typeface="Verdana"/>
                <a:ea typeface="Verdana"/>
              </a:rPr>
              <a:t>3d Top View System Software manage the vehicle surroundings : a virtual camera displays the car itself and the surroundings, helping the drivers to avoid obstacle (Driving Assistance System)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Entreprise Architect, C++, CAN, Linux, Windows. 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Software architect for the embedded software (model view architectural pattern)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CAN (Controller Area Network) library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Development Multi Platform software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Improving software quality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Team support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Improving team communication (web site)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Maintenance of Linux system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Test-oriented development.</a:t>
            </a:r>
            <a:endParaRPr b="0" lang="en-US" sz="95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ailroad UK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Long term support for this embedded software (&gt;10 years)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latin typeface="Verdana"/>
                <a:ea typeface="Verdana"/>
              </a:rPr>
              <a:t>C++, Embedded Windows CE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Update and Support on location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Architec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Medical device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New generation of high tech medical instrumen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C++, Qt, QtEmu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Software architect for the embedded software (model view architectural pattern)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State machine conception and development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onception and development of several functionalities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ode documentation with doxygen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Participation of wiki,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Maintenance of linux system.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	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	</a:t>
            </a:r>
            <a:endParaRPr b="0" lang="en-US" sz="10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Text Placeholder 6"/>
          <p:cNvSpPr/>
          <p:nvPr/>
        </p:nvSpPr>
        <p:spPr>
          <a:xfrm>
            <a:off x="7543800" y="685800"/>
            <a:ext cx="4383720" cy="581688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45" name="PlaceHolder 1"/>
          <p:cNvSpPr>
            <a:spLocks noGrp="1"/>
          </p:cNvSpPr>
          <p:nvPr>
            <p:ph/>
          </p:nvPr>
        </p:nvSpPr>
        <p:spPr>
          <a:xfrm>
            <a:off x="3429000" y="310320"/>
            <a:ext cx="417528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US" sz="1400" spc="-1" strike="noStrike">
                <a:solidFill>
                  <a:srgbClr val="12abdb"/>
                </a:solidFill>
                <a:latin typeface="Verdana"/>
              </a:rPr>
              <a:t>Experience (4/4)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46" name="PlaceHolder 2"/>
          <p:cNvSpPr>
            <a:spLocks noGrp="1"/>
          </p:cNvSpPr>
          <p:nvPr>
            <p:ph/>
          </p:nvPr>
        </p:nvSpPr>
        <p:spPr>
          <a:xfrm>
            <a:off x="407880" y="5580720"/>
            <a:ext cx="3022560" cy="33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Languag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47" name="PlaceHolder 3"/>
          <p:cNvSpPr>
            <a:spLocks noGrp="1"/>
          </p:cNvSpPr>
          <p:nvPr>
            <p:ph/>
          </p:nvPr>
        </p:nvSpPr>
        <p:spPr>
          <a:xfrm>
            <a:off x="407880" y="3601800"/>
            <a:ext cx="3022560" cy="41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marL="228600" indent="-227520">
              <a:lnSpc>
                <a:spcPct val="9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1" lang="en-US" sz="2000" spc="-1" strike="noStrike">
                <a:solidFill>
                  <a:srgbClr val="ffffff"/>
                </a:solidFill>
                <a:latin typeface="Calibri"/>
                <a:ea typeface="DejaVu Sans"/>
              </a:rPr>
              <a:t>Grosjean Nicolas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148" name="PlaceHolder 4"/>
          <p:cNvSpPr>
            <a:spLocks noGrp="1"/>
          </p:cNvSpPr>
          <p:nvPr>
            <p:ph/>
          </p:nvPr>
        </p:nvSpPr>
        <p:spPr>
          <a:xfrm>
            <a:off x="407880" y="4038120"/>
            <a:ext cx="302256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Architect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49" name="PlaceHolder 5"/>
          <p:cNvSpPr>
            <a:spLocks noGrp="1"/>
          </p:cNvSpPr>
          <p:nvPr>
            <p:ph/>
          </p:nvPr>
        </p:nvSpPr>
        <p:spPr>
          <a:xfrm>
            <a:off x="407880" y="5913360"/>
            <a:ext cx="302256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en-US" sz="1200" spc="-1" strike="noStrike">
                <a:solidFill>
                  <a:srgbClr val="ffffff"/>
                </a:solidFill>
                <a:latin typeface="Calibri"/>
                <a:ea typeface="DejaVu Sans"/>
              </a:rPr>
              <a:t>French(native), English (fluent), German(B2)</a:t>
            </a:r>
            <a:endParaRPr b="0" lang="en-US" sz="1200" spc="-1" strike="noStrike">
              <a:latin typeface="Arial"/>
            </a:endParaRPr>
          </a:p>
        </p:txBody>
      </p:sp>
      <p:sp>
        <p:nvSpPr>
          <p:cNvPr id="150" name="PlaceHolder 6"/>
          <p:cNvSpPr>
            <a:spLocks noGrp="1"/>
          </p:cNvSpPr>
          <p:nvPr>
            <p:ph/>
          </p:nvPr>
        </p:nvSpPr>
        <p:spPr>
          <a:xfrm>
            <a:off x="407880" y="4484520"/>
            <a:ext cx="3022560" cy="330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1" lang="en-GB" sz="1400" spc="-1" strike="noStrike">
                <a:solidFill>
                  <a:srgbClr val="ffffff"/>
                </a:solidFill>
                <a:latin typeface="Verdana"/>
              </a:rPr>
              <a:t>Key Competencies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51" name="PlaceHolder 7"/>
          <p:cNvSpPr>
            <a:spLocks noGrp="1"/>
          </p:cNvSpPr>
          <p:nvPr>
            <p:ph/>
          </p:nvPr>
        </p:nvSpPr>
        <p:spPr>
          <a:xfrm>
            <a:off x="408960" y="4833360"/>
            <a:ext cx="3021480" cy="53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28600" indent="-227520">
              <a:lnSpc>
                <a:spcPct val="100000"/>
              </a:lnSpc>
              <a:spcBef>
                <a:spcPts val="1001"/>
              </a:spcBef>
              <a:buClr>
                <a:srgbClr val="4472c4"/>
              </a:buClr>
              <a:buFont typeface="Arial"/>
              <a:buChar char="•"/>
              <a:tabLst>
                <a:tab algn="l" pos="0"/>
              </a:tabLst>
            </a:pPr>
            <a:r>
              <a:rPr b="0" lang="en-GB" sz="1400" spc="-1" strike="noStrike">
                <a:solidFill>
                  <a:srgbClr val="ffffff"/>
                </a:solidFill>
                <a:latin typeface="Calibri"/>
                <a:ea typeface="DejaVu Sans"/>
              </a:rPr>
              <a:t>Software Development, Integration, test &amp; validation</a:t>
            </a:r>
            <a:endParaRPr b="0" lang="en-US" sz="1400" spc="-1" strike="noStrike">
              <a:latin typeface="Arial"/>
            </a:endParaRPr>
          </a:p>
        </p:txBody>
      </p:sp>
      <p:sp>
        <p:nvSpPr>
          <p:cNvPr id="152" name="PlaceHolder 8"/>
          <p:cNvSpPr>
            <a:spLocks noGrp="1"/>
          </p:cNvSpPr>
          <p:nvPr>
            <p:ph/>
          </p:nvPr>
        </p:nvSpPr>
        <p:spPr>
          <a:xfrm>
            <a:off x="7714080" y="551520"/>
            <a:ext cx="4170960" cy="5391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1417"/>
              </a:spcBef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Project manager associate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ublic Sector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M</a:t>
            </a:r>
            <a:r>
              <a:rPr b="0" lang="en-US" sz="950" spc="-1" strike="noStrike">
                <a:latin typeface="Verdana"/>
                <a:ea typeface="Verdana"/>
              </a:rPr>
              <a:t>oving an headquarters, bringing 600 new PCs at the new headquarters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MS Project, Windows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Management of the project under MS Project (50 people, 300 tasks).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Safeguard, then migration of the data,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Software standardization.</a:t>
            </a:r>
            <a:endParaRPr b="0" lang="en-US" sz="95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Analyst and 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Defense - Aircraf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Embedded software development for a French fighter, within a team of 50 engineers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Ada, Unix</a:t>
            </a:r>
            <a:r>
              <a:rPr b="0" lang="en-US" sz="1000" spc="-1" strike="noStrike"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Management of various data-processing tools according to an object-oriented software development. The program exceeded one million lines. 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Develop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latin typeface="Verdana"/>
                <a:ea typeface="Verdana"/>
              </a:rPr>
              <a:t>Nuclear Safety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Safety studies for the carrier the "Charles of Gaulle". Updating the file of the safety options concerning the services ensured by the ship to the two nuclear boilers.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cientific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latin typeface="Verdana"/>
                <a:ea typeface="Verdana"/>
              </a:rPr>
              <a:t>Research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 </a:t>
            </a:r>
            <a:r>
              <a:rPr b="0" lang="en-US" sz="1000" spc="-1" strike="noStrike">
                <a:latin typeface="Verdana"/>
                <a:ea typeface="Verdana"/>
              </a:rPr>
              <a:t>Analysis and comparison of </a:t>
            </a:r>
            <a:r>
              <a:rPr b="0" i="1" lang="en-US" sz="900" spc="-1" strike="noStrike">
                <a:solidFill>
                  <a:srgbClr val="464669"/>
                </a:solidFill>
                <a:latin typeface="Arial"/>
                <a:ea typeface="Calibri"/>
              </a:rPr>
              <a:t>in situ</a:t>
            </a:r>
            <a:r>
              <a:rPr b="0" lang="en-US" sz="1000" spc="-1" strike="noStrike">
                <a:latin typeface="Verdana"/>
                <a:ea typeface="Verdana"/>
              </a:rPr>
              <a:t> data regarding the Tropical Atlantic's long waves, in accordance with a digital model of general oceanographic flowing, providing therefore a scientific expedition with fundamental source documents.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</p:txBody>
      </p:sp>
      <p:sp>
        <p:nvSpPr>
          <p:cNvPr id="153" name="TextBox 4"/>
          <p:cNvSpPr/>
          <p:nvPr/>
        </p:nvSpPr>
        <p:spPr>
          <a:xfrm>
            <a:off x="44640" y="6503040"/>
            <a:ext cx="5829840" cy="333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This document contains personal data to a not inconsiderable extent. It shall be used in accordance with the </a:t>
            </a:r>
            <a:endParaRPr b="0" lang="en-US" sz="8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en-US" sz="800" spc="-1" strike="noStrike">
                <a:solidFill>
                  <a:srgbClr val="767676"/>
                </a:solidFill>
                <a:latin typeface="Verdana"/>
                <a:ea typeface="DejaVu Sans"/>
              </a:rPr>
              <a:t>need-to-know principle and only for the agreed purpose, after which deletion shall be considered immediately.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154" name="Text Placeholder 7"/>
          <p:cNvSpPr/>
          <p:nvPr/>
        </p:nvSpPr>
        <p:spPr>
          <a:xfrm>
            <a:off x="3200400" y="685800"/>
            <a:ext cx="4343040" cy="5816880"/>
          </a:xfrm>
          <a:prstGeom prst="rect">
            <a:avLst/>
          </a:prstGeom>
          <a:solidFill>
            <a:schemeClr val="bg1"/>
          </a:solidFill>
          <a:ln w="28575">
            <a:solidFill>
              <a:srgbClr val="d9d9d9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55" name="PlaceHolder 44"/>
          <p:cNvSpPr/>
          <p:nvPr/>
        </p:nvSpPr>
        <p:spPr>
          <a:xfrm>
            <a:off x="3433320" y="372600"/>
            <a:ext cx="4170960" cy="6130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Software Developer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Aircraft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Project: </a:t>
            </a:r>
            <a:r>
              <a:rPr b="0" lang="en-US" sz="950" spc="-1" strike="noStrike">
                <a:latin typeface="Verdana"/>
                <a:ea typeface="Verdana"/>
              </a:rPr>
              <a:t>Development of a macro-generated software for the management of air traffic (Management of several parallel businesses), in order to cope with denser aircraft traffic.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 C++, Linux. </a:t>
            </a:r>
            <a:br>
              <a:rPr sz="950"/>
            </a:br>
            <a:r>
              <a:rPr b="1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950"/>
            </a:br>
            <a:r>
              <a:rPr b="0" lang="en-US" sz="950" spc="-1" strike="noStrike">
                <a:solidFill>
                  <a:srgbClr val="000000"/>
                </a:solidFill>
                <a:latin typeface="Verdana"/>
                <a:ea typeface="Verdana"/>
              </a:rPr>
              <a:t>* Development and tests of software.</a:t>
            </a:r>
            <a:endParaRPr b="0" lang="en-US" sz="95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Software Engineer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Space</a:t>
            </a: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Correction of a embedded software</a:t>
            </a:r>
            <a:r>
              <a:rPr b="0" lang="en-US" sz="1000" spc="-1" strike="noStrike">
                <a:latin typeface="Verdana"/>
                <a:ea typeface="Verdana"/>
              </a:rPr>
              <a:t>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Ada, Assembleur</a:t>
            </a:r>
            <a:r>
              <a:rPr b="0" lang="en-US" sz="1000" spc="-1" strike="noStrike">
                <a:latin typeface="Verdana"/>
                <a:ea typeface="Verdana"/>
              </a:rPr>
              <a:t>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Software workaround of a bugged hardware embedded on satellite.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Project manager associate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Pharmaceuticals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Hoechst starts out-sourcing its internal IT support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Windows, Visual Basic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Test of new Software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Drafting of procedures for software installations, as well as setting environments Windows (NT3.51, NT4.0, 95, 3.xx...) on PCs connected in network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Installation of the network LOTUS Notes for the whole company.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Creation of quality indicators for the hot line.</a:t>
            </a: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endParaRPr b="0" lang="en-US" sz="10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ole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: </a:t>
            </a:r>
            <a:r>
              <a:rPr b="0" lang="en-US" sz="1000" spc="-1" strike="noStrike">
                <a:latin typeface="Verdana"/>
                <a:ea typeface="Verdana"/>
              </a:rPr>
              <a:t>Financial data processing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Industry: 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Banking</a:t>
            </a: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Project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 S</a:t>
            </a:r>
            <a:r>
              <a:rPr b="0" lang="en-US" sz="1000" spc="-1" strike="noStrike">
                <a:latin typeface="Verdana"/>
                <a:ea typeface="Verdana"/>
              </a:rPr>
              <a:t>oftware upgrade 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Tools:</a:t>
            </a: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r>
              <a:rPr b="0" lang="en-US" sz="1000" spc="-1" strike="noStrike">
                <a:latin typeface="Verdana"/>
                <a:ea typeface="Verdana"/>
              </a:rPr>
              <a:t>MS Excel, Visual Basic.</a:t>
            </a:r>
            <a:br>
              <a:rPr sz="1000"/>
            </a:br>
            <a:r>
              <a:rPr b="1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Responsibility:</a:t>
            </a:r>
            <a:br>
              <a:rPr sz="1000"/>
            </a:br>
            <a:r>
              <a:rPr b="0" lang="en-US" sz="1000" spc="-1" strike="noStrike">
                <a:solidFill>
                  <a:srgbClr val="000000"/>
                </a:solidFill>
                <a:latin typeface="Verdana"/>
                <a:ea typeface="Verdana"/>
              </a:rPr>
              <a:t>* Development of financial software.</a:t>
            </a:r>
            <a:endParaRPr b="0" lang="en-US" sz="10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f999c"/>
      </a:accent6>
      <a:hlink>
        <a:srgbClr val="0070ad"/>
      </a:hlink>
      <a:folHlink>
        <a:srgbClr val="86086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f999c"/>
      </a:accent6>
      <a:hlink>
        <a:srgbClr val="0070ad"/>
      </a:hlink>
      <a:folHlink>
        <a:srgbClr val="86086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70ad"/>
      </a:dk2>
      <a:lt2>
        <a:srgbClr val="ededed"/>
      </a:lt2>
      <a:accent1>
        <a:srgbClr val="80b8d6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f999c"/>
      </a:accent6>
      <a:hlink>
        <a:srgbClr val="0070ad"/>
      </a:hlink>
      <a:folHlink>
        <a:srgbClr val="86086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customXml/_rels/item1.xml.rels><?xml version="1.0" encoding="UTF-8"?>
<Relationships xmlns="http://schemas.openxmlformats.org/package/2006/relationships"><Relationship Id="rId1" Type="http://schemas.openxmlformats.org/officeDocument/2006/relationships/customXmlProps" Target="itemProps1.xml"/>
</Relationships>
</file>

<file path=customXml/_rels/item2.xml.rels><?xml version="1.0" encoding="UTF-8"?>
<Relationships xmlns="http://schemas.openxmlformats.org/package/2006/relationships"><Relationship Id="rId1" Type="http://schemas.openxmlformats.org/officeDocument/2006/relationships/customXmlProps" Target="itemProps2.xml"/>
</Relationships>
</file>

<file path=customXml/_rels/item3.xml.rels><?xml version="1.0" encoding="UTF-8"?>
<Relationships xmlns="http://schemas.openxmlformats.org/package/2006/relationships"><Relationship Id="rId1" Type="http://schemas.openxmlformats.org/officeDocument/2006/relationships/customXmlProps" Target="itemProps3.xml"/>
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2AD7CCD9309A40A93237B95FD3CCF3" ma:contentTypeVersion="17" ma:contentTypeDescription="Create a new document." ma:contentTypeScope="" ma:versionID="d57a9f2bf89b7f43ec4b13fd8b52541b">
  <xsd:schema xmlns:xsd="http://www.w3.org/2001/XMLSchema" xmlns:xs="http://www.w3.org/2001/XMLSchema" xmlns:p="http://schemas.microsoft.com/office/2006/metadata/properties" xmlns:ns2="1054ac26-85d3-4a93-8ee6-8b53566d365e" xmlns:ns3="ee67b47f-9706-4343-8c14-d4b70a5ee703" targetNamespace="http://schemas.microsoft.com/office/2006/metadata/properties" ma:root="true" ma:fieldsID="68590f1bca15e7a91ff2aca4a16f2115" ns2:_="" ns3:_="">
    <xsd:import namespace="1054ac26-85d3-4a93-8ee6-8b53566d365e"/>
    <xsd:import namespace="ee67b47f-9706-4343-8c14-d4b70a5ee7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Team" minOccurs="0"/>
                <xsd:element ref="ns2:Remark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54ac26-85d3-4a93-8ee6-8b53566d36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Team" ma:index="17" nillable="true" ma:displayName="Team" ma:format="Dropdown" ma:internalName="Team">
      <xsd:simpleType>
        <xsd:union memberTypes="dms:Text">
          <xsd:simpleType>
            <xsd:restriction base="dms:Choice">
              <xsd:enumeration value="AI Solutions"/>
              <xsd:enumeration value="Test"/>
              <xsd:enumeration value="AIM"/>
              <xsd:enumeration value="Auswahl 4"/>
              <xsd:enumeration value="Auswahl 5"/>
              <xsd:enumeration value="Auswahl 6"/>
            </xsd:restriction>
          </xsd:simpleType>
        </xsd:union>
      </xsd:simpleType>
    </xsd:element>
    <xsd:element name="Remark" ma:index="18" nillable="true" ma:displayName="Remark" ma:format="Dropdown" ma:internalName="Remark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67b47f-9706-4343-8c14-d4b70a5ee703" elementFormDefault="qualified">
    <xsd:import namespace="http://schemas.microsoft.com/office/2006/documentManagement/types"/>
    <xsd:import namespace="http://schemas.microsoft.com/office/infopath/2007/PartnerControls"/>
    <xsd:element name="SharedWithUsers" ma:index="6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054ac26-85d3-4a93-8ee6-8b53566d365e">
      <Terms xmlns="http://schemas.microsoft.com/office/infopath/2007/PartnerControls"/>
    </lcf76f155ced4ddcb4097134ff3c332f>
    <SharedWithUsers xmlns="ee67b47f-9706-4343-8c14-d4b70a5ee703">
      <UserInfo>
        <DisplayName>Montgomery, Shannon</DisplayName>
        <AccountId>70</AccountId>
        <AccountType/>
      </UserInfo>
      <UserInfo>
        <DisplayName>Gubko, Mikhail</DisplayName>
        <AccountId>77</AccountId>
        <AccountType/>
      </UserInfo>
      <UserInfo>
        <DisplayName>Lütticken, Ruth</DisplayName>
        <AccountId>41</AccountId>
        <AccountType/>
      </UserInfo>
    </SharedWithUsers>
    <Remark xmlns="1054ac26-85d3-4a93-8ee6-8b53566d365e" xsi:nil="true"/>
    <Team xmlns="1054ac26-85d3-4a93-8ee6-8b53566d365e">AI for R&amp;D</Team>
  </documentManagement>
</p:properties>
</file>

<file path=customXml/itemProps1.xml><?xml version="1.0" encoding="utf-8"?>
<ds:datastoreItem xmlns:ds="http://schemas.openxmlformats.org/officeDocument/2006/customXml" ds:itemID="{961CC494-1748-40EA-9111-856FABD4E5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54ac26-85d3-4a93-8ee6-8b53566d365e"/>
    <ds:schemaRef ds:uri="ee67b47f-9706-4343-8c14-d4b70a5ee7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D407804-FE11-4112-8799-CF115E6EF55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A1A43CD-0E4E-4B91-9912-B2910D3ED881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ee67b47f-9706-4343-8c14-d4b70a5ee703"/>
    <ds:schemaRef ds:uri="1054ac26-85d3-4a93-8ee6-8b53566d365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 Standard Template</Template>
  <TotalTime>229</TotalTime>
  <Application>LibreOffice/7.3.7.2$Linux_X86_64 LibreOffice_project/30$Build-2</Application>
  <AppVersion>15.0000</AppVersion>
  <Words>1076</Words>
  <Paragraphs>61</Paragraphs>
  <Company>Capgemini</Company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1-09T08:51:59Z</dcterms:created>
  <dc:creator>Raikar, Isabel Beatrice</dc:creator>
  <dc:description/>
  <dc:language>en-US</dc:language>
  <cp:lastModifiedBy/>
  <dcterms:modified xsi:type="dcterms:W3CDTF">2024-10-08T22:48:05Z</dcterms:modified>
  <cp:revision>293</cp:revision>
  <dc:subject/>
  <dc:title>Title of the presentation 2 lines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2AD7CCD9309A40A93237B95FD3CCF3</vt:lpwstr>
  </property>
  <property fmtid="{D5CDD505-2E9C-101B-9397-08002B2CF9AE}" pid="3" name="MediaServiceImageTags">
    <vt:lpwstr/>
  </property>
  <property fmtid="{D5CDD505-2E9C-101B-9397-08002B2CF9AE}" pid="4" name="Notes">
    <vt:i4>2</vt:i4>
  </property>
  <property fmtid="{D5CDD505-2E9C-101B-9397-08002B2CF9AE}" pid="5" name="PresentationFormat">
    <vt:lpwstr>Breitbild</vt:lpwstr>
  </property>
  <property fmtid="{D5CDD505-2E9C-101B-9397-08002B2CF9AE}" pid="6" name="Slides">
    <vt:i4>2</vt:i4>
  </property>
</Properties>
</file>